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1"/>
  </p:notesMasterIdLst>
  <p:sldIdLst>
    <p:sldId id="256" r:id="rId3"/>
    <p:sldId id="258" r:id="rId4"/>
    <p:sldId id="273" r:id="rId5"/>
    <p:sldId id="271" r:id="rId6"/>
    <p:sldId id="274" r:id="rId7"/>
    <p:sldId id="272" r:id="rId8"/>
    <p:sldId id="275" r:id="rId9"/>
    <p:sldId id="261" r:id="rId10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BD7"/>
    <a:srgbClr val="768394"/>
    <a:srgbClr val="112F6E"/>
    <a:srgbClr val="172B60"/>
    <a:srgbClr val="152E6E"/>
    <a:srgbClr val="1A275B"/>
    <a:srgbClr val="182B63"/>
    <a:srgbClr val="182552"/>
    <a:srgbClr val="08183C"/>
    <a:srgbClr val="0305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6196" autoAdjust="0"/>
  </p:normalViewPr>
  <p:slideViewPr>
    <p:cSldViewPr snapToGrid="0">
      <p:cViewPr>
        <p:scale>
          <a:sx n="66" d="100"/>
          <a:sy n="66" d="100"/>
        </p:scale>
        <p:origin x="648" y="2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5" Type="http://schemas.openxmlformats.org/officeDocument/2006/relationships/tags" Target="tags/tag6.xml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gradFill>
          <a:gsLst>
            <a:gs pos="82000">
              <a:srgbClr val="112F6E"/>
            </a:gs>
            <a:gs pos="59453">
              <a:srgbClr val="172B60"/>
            </a:gs>
            <a:gs pos="40000">
              <a:srgbClr val="182552"/>
            </a:gs>
            <a:gs pos="0">
              <a:srgbClr val="08183C"/>
            </a:gs>
            <a:gs pos="100000">
              <a:srgbClr val="152E6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5999" y="1177474"/>
            <a:ext cx="4221629" cy="2105516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0" y="3325229"/>
            <a:ext cx="4221628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6000" y="4083305"/>
            <a:ext cx="4221628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96000" y="4384466"/>
            <a:ext cx="4221629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3" name="矩形 22"/>
          <p:cNvSpPr/>
          <p:nvPr userDrawn="1"/>
        </p:nvSpPr>
        <p:spPr>
          <a:xfrm>
            <a:off x="0" y="0"/>
            <a:ext cx="4893142" cy="6858000"/>
          </a:xfrm>
          <a:prstGeom prst="rect">
            <a:avLst/>
          </a:prstGeom>
          <a:blipFill>
            <a:blip r:embed="rId2"/>
            <a:srcRect/>
            <a:stretch>
              <a:fillRect r="94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gradFill>
          <a:gsLst>
            <a:gs pos="82000">
              <a:srgbClr val="112F6E"/>
            </a:gs>
            <a:gs pos="59453">
              <a:srgbClr val="172B60"/>
            </a:gs>
            <a:gs pos="40000">
              <a:srgbClr val="182552"/>
            </a:gs>
            <a:gs pos="0">
              <a:srgbClr val="08183C"/>
            </a:gs>
            <a:gs pos="100000">
              <a:srgbClr val="152E6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817930" y="232789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819046" y="322324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gradFill>
          <a:gsLst>
            <a:gs pos="82000">
              <a:srgbClr val="112F6E"/>
            </a:gs>
            <a:gs pos="59453">
              <a:srgbClr val="172B60"/>
            </a:gs>
            <a:gs pos="40000">
              <a:srgbClr val="182552"/>
            </a:gs>
            <a:gs pos="0">
              <a:srgbClr val="08183C"/>
            </a:gs>
            <a:gs pos="100000">
              <a:srgbClr val="152E6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4893142" cy="6858000"/>
          </a:xfrm>
          <a:prstGeom prst="rect">
            <a:avLst/>
          </a:prstGeom>
          <a:blipFill>
            <a:blip r:embed="rId2"/>
            <a:srcRect/>
            <a:stretch>
              <a:fillRect r="94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00" y="3697518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6000" y="3401247"/>
            <a:ext cx="44704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804503" y="2481903"/>
            <a:ext cx="6761897" cy="645606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hemeOverride" Target="../theme/themeOverride1.xml"/><Relationship Id="rId3" Type="http://schemas.openxmlformats.org/officeDocument/2006/relationships/tags" Target="../tags/tag1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3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4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microsoft.com/office/2007/relationships/media" Target="../media/media1.mp4"/><Relationship Id="rId1" Type="http://schemas.openxmlformats.org/officeDocument/2006/relationships/video" Target="../media/media1.mp4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6.xml"/><Relationship Id="rId4" Type="http://schemas.openxmlformats.org/officeDocument/2006/relationships/themeOverride" Target="../theme/themeOverride5.xml"/><Relationship Id="rId3" Type="http://schemas.openxmlformats.org/officeDocument/2006/relationships/tags" Target="../tags/tag5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2000">
              <a:schemeClr val="accent6"/>
            </a:gs>
            <a:gs pos="59453">
              <a:schemeClr val="accent5"/>
            </a:gs>
            <a:gs pos="40000">
              <a:schemeClr val="accent4"/>
            </a:gs>
            <a:gs pos="0">
              <a:schemeClr val="accent3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/>
        </p:nvGrpSpPr>
        <p:grpSpPr>
          <a:xfrm>
            <a:off x="4395018" y="1593632"/>
            <a:ext cx="7002640" cy="1291845"/>
            <a:chOff x="2681970" y="1415352"/>
            <a:chExt cx="5506857" cy="1015903"/>
          </a:xfrm>
        </p:grpSpPr>
        <p:grpSp>
          <p:nvGrpSpPr>
            <p:cNvPr id="9" name="组合 8"/>
            <p:cNvGrpSpPr/>
            <p:nvPr userDrawn="1"/>
          </p:nvGrpSpPr>
          <p:grpSpPr>
            <a:xfrm>
              <a:off x="2681970" y="1415352"/>
              <a:ext cx="3271790" cy="1015901"/>
              <a:chOff x="1" y="3026106"/>
              <a:chExt cx="2057400" cy="781570"/>
            </a:xfrm>
          </p:grpSpPr>
          <p:sp>
            <p:nvSpPr>
              <p:cNvPr id="11" name="文本框 10"/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 b="1" dirty="0">
                    <a:solidFill>
                      <a:schemeClr val="bg1"/>
                    </a:solidFill>
                    <a:latin typeface="+mn-lt"/>
                  </a:rPr>
                  <a:t>Future</a:t>
                </a:r>
                <a:endParaRPr lang="zh-CN" altLang="en-US" sz="1660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754557" y="3026106"/>
                <a:ext cx="1251032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en-US" altLang="zh-CN" sz="16600" noProof="0" dirty="0">
                    <a:solidFill>
                      <a:schemeClr val="bg1"/>
                    </a:solidFill>
                    <a:latin typeface="+mn-lt"/>
                  </a:rPr>
                  <a:t>robot</a:t>
                </a:r>
                <a:endParaRPr lang="en-US" altLang="zh-CN" sz="16600" noProof="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10" name="文本框 9"/>
            <p:cNvSpPr txBox="1"/>
            <p:nvPr userDrawn="1"/>
          </p:nvSpPr>
          <p:spPr>
            <a:xfrm>
              <a:off x="6063503" y="1415353"/>
              <a:ext cx="2125324" cy="1015902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bg1"/>
                  </a:solidFill>
                  <a:latin typeface="Impact" panose="020B0806030902050204" pitchFamily="34" charset="0"/>
                </a:rPr>
                <a:t>2022</a:t>
              </a:r>
              <a:endParaRPr lang="zh-CN" altLang="en-US" sz="9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104145" y="3263068"/>
            <a:ext cx="6389047" cy="1406141"/>
          </a:xfrm>
        </p:spPr>
        <p:txBody>
          <a:bodyPr>
            <a:normAutofit/>
          </a:bodyPr>
          <a:lstStyle/>
          <a:p>
            <a:pPr algn="r">
              <a:lnSpc>
                <a:spcPct val="100000"/>
              </a:lnSpc>
            </a:pPr>
            <a:r>
              <a:rPr lang="zh-CN" altLang="en-US" spc="600" dirty="0">
                <a:solidFill>
                  <a:schemeClr val="accent2"/>
                </a:solidFill>
                <a:sym typeface="+mn-ea"/>
              </a:rPr>
              <a:t>属实不赖组</a:t>
            </a:r>
            <a:r>
              <a:rPr lang="en-US" altLang="zh-CN" spc="600" dirty="0">
                <a:solidFill>
                  <a:schemeClr val="accent2"/>
                </a:solidFill>
                <a:sym typeface="+mn-ea"/>
              </a:rPr>
              <a:t>——</a:t>
            </a:r>
            <a:r>
              <a:rPr lang="zh-CN" altLang="en-US" dirty="0">
                <a:solidFill>
                  <a:schemeClr val="accent2"/>
                </a:solidFill>
              </a:rPr>
              <a:t>课程设计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908550" y="4669155"/>
            <a:ext cx="6489065" cy="552450"/>
          </a:xfrm>
        </p:spPr>
        <p:txBody>
          <a:bodyPr>
            <a:normAutofit/>
          </a:bodyPr>
          <a:lstStyle/>
          <a:p>
            <a:pPr algn="r"/>
            <a:r>
              <a:rPr lang="zh-CN" altLang="en-US" spc="600" dirty="0">
                <a:solidFill>
                  <a:schemeClr val="accent2"/>
                </a:solidFill>
              </a:rPr>
              <a:t>小组成员：李星、孙冉、严梦慧、周易鑫</a:t>
            </a:r>
            <a:endParaRPr lang="en-US" altLang="zh-CN" spc="600" dirty="0">
              <a:solidFill>
                <a:schemeClr val="accent2"/>
              </a:solidFill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4395018" y="3074272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88185" y="2734601"/>
            <a:ext cx="5419185" cy="895350"/>
          </a:xfrm>
          <a:effectLst>
            <a:outerShdw blurRad="38100" dist="76200" dir="2700000" algn="tl" rotWithShape="0">
              <a:schemeClr val="accent4">
                <a:alpha val="55000"/>
              </a:schemeClr>
            </a:outerShdw>
          </a:effectLst>
        </p:spPr>
        <p:txBody>
          <a:bodyPr>
            <a:normAutofit/>
          </a:bodyPr>
          <a:lstStyle/>
          <a:p>
            <a:r>
              <a:rPr lang="zh-CN" altLang="en-US" sz="5400" dirty="0"/>
              <a:t>创作思路</a:t>
            </a:r>
            <a:endParaRPr lang="zh-CN" altLang="en-US" sz="5400" dirty="0"/>
          </a:p>
        </p:txBody>
      </p:sp>
      <p:sp>
        <p:nvSpPr>
          <p:cNvPr id="9" name="文本框 8"/>
          <p:cNvSpPr txBox="1"/>
          <p:nvPr/>
        </p:nvSpPr>
        <p:spPr>
          <a:xfrm>
            <a:off x="3918800" y="2734601"/>
            <a:ext cx="1029774" cy="895350"/>
          </a:xfrm>
          <a:prstGeom prst="rect">
            <a:avLst/>
          </a:prstGeom>
          <a:noFill/>
          <a:ln w="117475">
            <a:noFill/>
          </a:ln>
          <a:effectLst>
            <a:outerShdw blurRad="38100" dist="88900" dir="2700000" algn="tl" rotWithShape="0">
              <a:schemeClr val="accent4">
                <a:alpha val="55000"/>
              </a:schemeClr>
            </a:outerShdw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739823" y="2116329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2739823" y="4231732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669925" y="567035"/>
            <a:ext cx="6081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/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组讨论确定创作主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226459"/>
            <a:ext cx="10883057" cy="550091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88185" y="2734601"/>
            <a:ext cx="5419185" cy="895350"/>
          </a:xfrm>
          <a:effectLst>
            <a:outerShdw blurRad="38100" dist="76200" dir="2700000" algn="tl" rotWithShape="0">
              <a:schemeClr val="accent4">
                <a:alpha val="55000"/>
              </a:schemeClr>
            </a:outerShdw>
          </a:effectLst>
        </p:spPr>
        <p:txBody>
          <a:bodyPr>
            <a:normAutofit/>
          </a:bodyPr>
          <a:lstStyle/>
          <a:p>
            <a:r>
              <a:rPr lang="zh-CN" altLang="en-US" sz="5400" dirty="0"/>
              <a:t>项目架构</a:t>
            </a:r>
            <a:endParaRPr lang="zh-CN" altLang="en-US" sz="5400" dirty="0"/>
          </a:p>
        </p:txBody>
      </p:sp>
      <p:sp>
        <p:nvSpPr>
          <p:cNvPr id="9" name="文本框 8"/>
          <p:cNvSpPr txBox="1"/>
          <p:nvPr/>
        </p:nvSpPr>
        <p:spPr>
          <a:xfrm>
            <a:off x="3918800" y="2734601"/>
            <a:ext cx="1029774" cy="895350"/>
          </a:xfrm>
          <a:prstGeom prst="rect">
            <a:avLst/>
          </a:prstGeom>
          <a:noFill/>
          <a:ln w="117475">
            <a:noFill/>
          </a:ln>
          <a:effectLst>
            <a:outerShdw blurRad="38100" dist="88900" dir="2700000" algn="tl" rotWithShape="0">
              <a:schemeClr val="accent4">
                <a:alpha val="55000"/>
              </a:schemeClr>
            </a:outerShdw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739823" y="2116329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2739823" y="4231732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62264" y="1130300"/>
            <a:ext cx="9565394" cy="4880971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69925" y="567035"/>
            <a:ext cx="6081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/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终项目架构展示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88185" y="2734601"/>
            <a:ext cx="5419185" cy="895350"/>
          </a:xfrm>
          <a:effectLst>
            <a:outerShdw blurRad="38100" dist="76200" dir="2700000" algn="tl" rotWithShape="0">
              <a:schemeClr val="accent4">
                <a:alpha val="55000"/>
              </a:schemeClr>
            </a:outerShdw>
          </a:effectLst>
        </p:spPr>
        <p:txBody>
          <a:bodyPr>
            <a:normAutofit/>
          </a:bodyPr>
          <a:lstStyle/>
          <a:p>
            <a:r>
              <a:rPr lang="zh-CN" altLang="en-US" sz="5400" dirty="0"/>
              <a:t>项目演示</a:t>
            </a:r>
            <a:endParaRPr lang="zh-CN" altLang="en-US" sz="5400" dirty="0"/>
          </a:p>
        </p:txBody>
      </p:sp>
      <p:sp>
        <p:nvSpPr>
          <p:cNvPr id="9" name="文本框 8"/>
          <p:cNvSpPr txBox="1"/>
          <p:nvPr/>
        </p:nvSpPr>
        <p:spPr>
          <a:xfrm>
            <a:off x="3918800" y="2734601"/>
            <a:ext cx="1029774" cy="895350"/>
          </a:xfrm>
          <a:prstGeom prst="rect">
            <a:avLst/>
          </a:prstGeom>
          <a:noFill/>
          <a:ln w="117475">
            <a:noFill/>
          </a:ln>
          <a:effectLst>
            <a:outerShdw blurRad="38100" dist="88900" dir="2700000" algn="tl" rotWithShape="0">
              <a:schemeClr val="accent4">
                <a:alpha val="55000"/>
              </a:schemeClr>
            </a:outerShdw>
          </a:effectLst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739823" y="2116329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2739823" y="4231732"/>
            <a:ext cx="70026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展示视频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965201" y="1130300"/>
            <a:ext cx="9706202" cy="5707199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69925" y="567035"/>
            <a:ext cx="6081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/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次展示</a:t>
            </a:r>
            <a:r>
              <a:rPr lang="zh-CN" altLang="en-US" sz="24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喷水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400" b="1" dirty="0">
                <a:solidFill>
                  <a:srgbClr val="CBCBD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喷干粉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400" b="1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</a:t>
            </a:r>
            <a:endParaRPr lang="zh-CN" altLang="en-US" sz="24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91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255657" y="3161543"/>
            <a:ext cx="4470400" cy="296271"/>
          </a:xfrm>
        </p:spPr>
        <p:txBody>
          <a:bodyPr/>
          <a:lstStyle/>
          <a:p>
            <a:r>
              <a:rPr lang="en-US" altLang="zh-CN" dirty="0"/>
              <a:t>2022/12/23</a:t>
            </a:r>
            <a:endParaRPr lang="en-US" altLang="zh-CN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5305852" y="1819755"/>
            <a:ext cx="5420205" cy="1193653"/>
          </a:xfrm>
        </p:spPr>
        <p:txBody>
          <a:bodyPr>
            <a:normAutofit/>
          </a:bodyPr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zh-CN" altLang="en-US" dirty="0"/>
              <a:t> 感谢收看</a:t>
            </a:r>
            <a:endParaRPr lang="zh-CN" alt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4847771" y="1819755"/>
            <a:ext cx="5878286" cy="2115403"/>
            <a:chOff x="4395018" y="2725929"/>
            <a:chExt cx="7002640" cy="2115403"/>
          </a:xfrm>
        </p:grpSpPr>
        <p:cxnSp>
          <p:nvCxnSpPr>
            <p:cNvPr id="14" name="直接连接符 13"/>
            <p:cNvCxnSpPr/>
            <p:nvPr/>
          </p:nvCxnSpPr>
          <p:spPr>
            <a:xfrm>
              <a:off x="4395018" y="2725929"/>
              <a:ext cx="70026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4395018" y="4841332"/>
              <a:ext cx="700264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组合 22"/>
          <p:cNvGrpSpPr/>
          <p:nvPr/>
        </p:nvGrpSpPr>
        <p:grpSpPr>
          <a:xfrm>
            <a:off x="6836229" y="4101632"/>
            <a:ext cx="3889828" cy="1690204"/>
            <a:chOff x="2855913" y="-477838"/>
            <a:chExt cx="5757862" cy="2501900"/>
          </a:xfrm>
        </p:grpSpPr>
        <p:sp>
          <p:nvSpPr>
            <p:cNvPr id="24" name="Freeform 5"/>
            <p:cNvSpPr/>
            <p:nvPr userDrawn="1"/>
          </p:nvSpPr>
          <p:spPr bwMode="auto">
            <a:xfrm>
              <a:off x="2855913" y="76200"/>
              <a:ext cx="1317625" cy="1687513"/>
            </a:xfrm>
            <a:custGeom>
              <a:avLst/>
              <a:gdLst>
                <a:gd name="T0" fmla="*/ 557 w 702"/>
                <a:gd name="T1" fmla="*/ 136 h 898"/>
                <a:gd name="T2" fmla="*/ 681 w 702"/>
                <a:gd name="T3" fmla="*/ 72 h 898"/>
                <a:gd name="T4" fmla="*/ 700 w 702"/>
                <a:gd name="T5" fmla="*/ 55 h 898"/>
                <a:gd name="T6" fmla="*/ 673 w 702"/>
                <a:gd name="T7" fmla="*/ 31 h 898"/>
                <a:gd name="T8" fmla="*/ 656 w 702"/>
                <a:gd name="T9" fmla="*/ 16 h 898"/>
                <a:gd name="T10" fmla="*/ 569 w 702"/>
                <a:gd name="T11" fmla="*/ 21 h 898"/>
                <a:gd name="T12" fmla="*/ 286 w 702"/>
                <a:gd name="T13" fmla="*/ 79 h 898"/>
                <a:gd name="T14" fmla="*/ 38 w 702"/>
                <a:gd name="T15" fmla="*/ 130 h 898"/>
                <a:gd name="T16" fmla="*/ 4 w 702"/>
                <a:gd name="T17" fmla="*/ 193 h 898"/>
                <a:gd name="T18" fmla="*/ 34 w 702"/>
                <a:gd name="T19" fmla="*/ 231 h 898"/>
                <a:gd name="T20" fmla="*/ 216 w 702"/>
                <a:gd name="T21" fmla="*/ 210 h 898"/>
                <a:gd name="T22" fmla="*/ 381 w 702"/>
                <a:gd name="T23" fmla="*/ 176 h 898"/>
                <a:gd name="T24" fmla="*/ 374 w 702"/>
                <a:gd name="T25" fmla="*/ 216 h 898"/>
                <a:gd name="T26" fmla="*/ 351 w 702"/>
                <a:gd name="T27" fmla="*/ 487 h 898"/>
                <a:gd name="T28" fmla="*/ 338 w 702"/>
                <a:gd name="T29" fmla="*/ 716 h 898"/>
                <a:gd name="T30" fmla="*/ 329 w 702"/>
                <a:gd name="T31" fmla="*/ 755 h 898"/>
                <a:gd name="T32" fmla="*/ 350 w 702"/>
                <a:gd name="T33" fmla="*/ 771 h 898"/>
                <a:gd name="T34" fmla="*/ 350 w 702"/>
                <a:gd name="T35" fmla="*/ 799 h 898"/>
                <a:gd name="T36" fmla="*/ 345 w 702"/>
                <a:gd name="T37" fmla="*/ 843 h 898"/>
                <a:gd name="T38" fmla="*/ 358 w 702"/>
                <a:gd name="T39" fmla="*/ 840 h 898"/>
                <a:gd name="T40" fmla="*/ 397 w 702"/>
                <a:gd name="T41" fmla="*/ 885 h 898"/>
                <a:gd name="T42" fmla="*/ 402 w 702"/>
                <a:gd name="T43" fmla="*/ 896 h 898"/>
                <a:gd name="T44" fmla="*/ 412 w 702"/>
                <a:gd name="T45" fmla="*/ 870 h 898"/>
                <a:gd name="T46" fmla="*/ 427 w 702"/>
                <a:gd name="T47" fmla="*/ 828 h 898"/>
                <a:gd name="T48" fmla="*/ 444 w 702"/>
                <a:gd name="T49" fmla="*/ 704 h 898"/>
                <a:gd name="T50" fmla="*/ 534 w 702"/>
                <a:gd name="T51" fmla="*/ 164 h 898"/>
                <a:gd name="T52" fmla="*/ 557 w 702"/>
                <a:gd name="T53" fmla="*/ 136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2" h="898">
                  <a:moveTo>
                    <a:pt x="557" y="136"/>
                  </a:moveTo>
                  <a:cubicBezTo>
                    <a:pt x="599" y="117"/>
                    <a:pt x="649" y="111"/>
                    <a:pt x="681" y="72"/>
                  </a:cubicBezTo>
                  <a:cubicBezTo>
                    <a:pt x="686" y="65"/>
                    <a:pt x="702" y="68"/>
                    <a:pt x="700" y="55"/>
                  </a:cubicBezTo>
                  <a:cubicBezTo>
                    <a:pt x="698" y="40"/>
                    <a:pt x="685" y="35"/>
                    <a:pt x="673" y="31"/>
                  </a:cubicBezTo>
                  <a:cubicBezTo>
                    <a:pt x="666" y="27"/>
                    <a:pt x="680" y="0"/>
                    <a:pt x="656" y="16"/>
                  </a:cubicBezTo>
                  <a:cubicBezTo>
                    <a:pt x="627" y="16"/>
                    <a:pt x="598" y="15"/>
                    <a:pt x="569" y="21"/>
                  </a:cubicBezTo>
                  <a:cubicBezTo>
                    <a:pt x="475" y="41"/>
                    <a:pt x="380" y="60"/>
                    <a:pt x="286" y="79"/>
                  </a:cubicBezTo>
                  <a:cubicBezTo>
                    <a:pt x="203" y="96"/>
                    <a:pt x="121" y="114"/>
                    <a:pt x="38" y="130"/>
                  </a:cubicBezTo>
                  <a:cubicBezTo>
                    <a:pt x="0" y="138"/>
                    <a:pt x="7" y="167"/>
                    <a:pt x="4" y="193"/>
                  </a:cubicBezTo>
                  <a:cubicBezTo>
                    <a:pt x="1" y="216"/>
                    <a:pt x="12" y="226"/>
                    <a:pt x="34" y="231"/>
                  </a:cubicBezTo>
                  <a:cubicBezTo>
                    <a:pt x="98" y="247"/>
                    <a:pt x="156" y="221"/>
                    <a:pt x="216" y="210"/>
                  </a:cubicBezTo>
                  <a:cubicBezTo>
                    <a:pt x="271" y="201"/>
                    <a:pt x="324" y="180"/>
                    <a:pt x="381" y="176"/>
                  </a:cubicBezTo>
                  <a:cubicBezTo>
                    <a:pt x="378" y="192"/>
                    <a:pt x="375" y="204"/>
                    <a:pt x="374" y="216"/>
                  </a:cubicBezTo>
                  <a:cubicBezTo>
                    <a:pt x="362" y="306"/>
                    <a:pt x="365" y="397"/>
                    <a:pt x="351" y="487"/>
                  </a:cubicBezTo>
                  <a:cubicBezTo>
                    <a:pt x="338" y="562"/>
                    <a:pt x="341" y="640"/>
                    <a:pt x="338" y="716"/>
                  </a:cubicBezTo>
                  <a:cubicBezTo>
                    <a:pt x="335" y="729"/>
                    <a:pt x="333" y="742"/>
                    <a:pt x="329" y="755"/>
                  </a:cubicBezTo>
                  <a:cubicBezTo>
                    <a:pt x="324" y="776"/>
                    <a:pt x="336" y="774"/>
                    <a:pt x="350" y="771"/>
                  </a:cubicBezTo>
                  <a:cubicBezTo>
                    <a:pt x="345" y="781"/>
                    <a:pt x="350" y="790"/>
                    <a:pt x="350" y="799"/>
                  </a:cubicBezTo>
                  <a:cubicBezTo>
                    <a:pt x="344" y="813"/>
                    <a:pt x="341" y="829"/>
                    <a:pt x="345" y="843"/>
                  </a:cubicBezTo>
                  <a:cubicBezTo>
                    <a:pt x="349" y="859"/>
                    <a:pt x="352" y="835"/>
                    <a:pt x="358" y="840"/>
                  </a:cubicBezTo>
                  <a:cubicBezTo>
                    <a:pt x="381" y="847"/>
                    <a:pt x="379" y="875"/>
                    <a:pt x="397" y="885"/>
                  </a:cubicBezTo>
                  <a:cubicBezTo>
                    <a:pt x="397" y="889"/>
                    <a:pt x="398" y="898"/>
                    <a:pt x="402" y="896"/>
                  </a:cubicBezTo>
                  <a:cubicBezTo>
                    <a:pt x="413" y="891"/>
                    <a:pt x="411" y="879"/>
                    <a:pt x="412" y="870"/>
                  </a:cubicBezTo>
                  <a:cubicBezTo>
                    <a:pt x="424" y="858"/>
                    <a:pt x="425" y="842"/>
                    <a:pt x="427" y="828"/>
                  </a:cubicBezTo>
                  <a:cubicBezTo>
                    <a:pt x="433" y="787"/>
                    <a:pt x="438" y="745"/>
                    <a:pt x="444" y="704"/>
                  </a:cubicBezTo>
                  <a:cubicBezTo>
                    <a:pt x="467" y="523"/>
                    <a:pt x="495" y="342"/>
                    <a:pt x="534" y="164"/>
                  </a:cubicBezTo>
                  <a:cubicBezTo>
                    <a:pt x="537" y="149"/>
                    <a:pt x="541" y="143"/>
                    <a:pt x="557" y="136"/>
                  </a:cubicBezTo>
                  <a:close/>
                </a:path>
              </a:pathLst>
            </a:custGeom>
            <a:solidFill>
              <a:schemeClr val="accent3">
                <a:alpha val="6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6"/>
                </a:solidFill>
              </a:endParaRPr>
            </a:p>
          </p:txBody>
        </p:sp>
        <p:sp>
          <p:nvSpPr>
            <p:cNvPr id="25" name="Freeform 6"/>
            <p:cNvSpPr/>
            <p:nvPr userDrawn="1"/>
          </p:nvSpPr>
          <p:spPr bwMode="auto">
            <a:xfrm>
              <a:off x="5822950" y="-236538"/>
              <a:ext cx="796925" cy="1274763"/>
            </a:xfrm>
            <a:custGeom>
              <a:avLst/>
              <a:gdLst>
                <a:gd name="T0" fmla="*/ 70 w 425"/>
                <a:gd name="T1" fmla="*/ 666 h 678"/>
                <a:gd name="T2" fmla="*/ 102 w 425"/>
                <a:gd name="T3" fmla="*/ 625 h 678"/>
                <a:gd name="T4" fmla="*/ 140 w 425"/>
                <a:gd name="T5" fmla="*/ 469 h 678"/>
                <a:gd name="T6" fmla="*/ 199 w 425"/>
                <a:gd name="T7" fmla="*/ 577 h 678"/>
                <a:gd name="T8" fmla="*/ 248 w 425"/>
                <a:gd name="T9" fmla="*/ 639 h 678"/>
                <a:gd name="T10" fmla="*/ 383 w 425"/>
                <a:gd name="T11" fmla="*/ 548 h 678"/>
                <a:gd name="T12" fmla="*/ 392 w 425"/>
                <a:gd name="T13" fmla="*/ 470 h 678"/>
                <a:gd name="T14" fmla="*/ 395 w 425"/>
                <a:gd name="T15" fmla="*/ 377 h 678"/>
                <a:gd name="T16" fmla="*/ 414 w 425"/>
                <a:gd name="T17" fmla="*/ 160 h 678"/>
                <a:gd name="T18" fmla="*/ 421 w 425"/>
                <a:gd name="T19" fmla="*/ 110 h 678"/>
                <a:gd name="T20" fmla="*/ 408 w 425"/>
                <a:gd name="T21" fmla="*/ 136 h 678"/>
                <a:gd name="T22" fmla="*/ 408 w 425"/>
                <a:gd name="T23" fmla="*/ 61 h 678"/>
                <a:gd name="T24" fmla="*/ 403 w 425"/>
                <a:gd name="T25" fmla="*/ 47 h 678"/>
                <a:gd name="T26" fmla="*/ 385 w 425"/>
                <a:gd name="T27" fmla="*/ 53 h 678"/>
                <a:gd name="T28" fmla="*/ 369 w 425"/>
                <a:gd name="T29" fmla="*/ 31 h 678"/>
                <a:gd name="T30" fmla="*/ 348 w 425"/>
                <a:gd name="T31" fmla="*/ 0 h 678"/>
                <a:gd name="T32" fmla="*/ 341 w 425"/>
                <a:gd name="T33" fmla="*/ 24 h 678"/>
                <a:gd name="T34" fmla="*/ 325 w 425"/>
                <a:gd name="T35" fmla="*/ 70 h 678"/>
                <a:gd name="T36" fmla="*/ 285 w 425"/>
                <a:gd name="T37" fmla="*/ 308 h 678"/>
                <a:gd name="T38" fmla="*/ 264 w 425"/>
                <a:gd name="T39" fmla="*/ 407 h 678"/>
                <a:gd name="T40" fmla="*/ 165 w 425"/>
                <a:gd name="T41" fmla="*/ 251 h 678"/>
                <a:gd name="T42" fmla="*/ 89 w 425"/>
                <a:gd name="T43" fmla="*/ 222 h 678"/>
                <a:gd name="T44" fmla="*/ 55 w 425"/>
                <a:gd name="T45" fmla="*/ 274 h 678"/>
                <a:gd name="T46" fmla="*/ 7 w 425"/>
                <a:gd name="T47" fmla="*/ 539 h 678"/>
                <a:gd name="T48" fmla="*/ 6 w 425"/>
                <a:gd name="T49" fmla="*/ 622 h 678"/>
                <a:gd name="T50" fmla="*/ 70 w 425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25" h="678">
                  <a:moveTo>
                    <a:pt x="70" y="666"/>
                  </a:moveTo>
                  <a:cubicBezTo>
                    <a:pt x="91" y="660"/>
                    <a:pt x="97" y="641"/>
                    <a:pt x="102" y="625"/>
                  </a:cubicBezTo>
                  <a:cubicBezTo>
                    <a:pt x="115" y="575"/>
                    <a:pt x="126" y="525"/>
                    <a:pt x="140" y="469"/>
                  </a:cubicBezTo>
                  <a:cubicBezTo>
                    <a:pt x="156" y="511"/>
                    <a:pt x="186" y="537"/>
                    <a:pt x="199" y="577"/>
                  </a:cubicBezTo>
                  <a:cubicBezTo>
                    <a:pt x="206" y="598"/>
                    <a:pt x="211" y="636"/>
                    <a:pt x="248" y="639"/>
                  </a:cubicBezTo>
                  <a:cubicBezTo>
                    <a:pt x="327" y="646"/>
                    <a:pt x="360" y="624"/>
                    <a:pt x="383" y="548"/>
                  </a:cubicBezTo>
                  <a:cubicBezTo>
                    <a:pt x="391" y="523"/>
                    <a:pt x="394" y="497"/>
                    <a:pt x="392" y="470"/>
                  </a:cubicBezTo>
                  <a:cubicBezTo>
                    <a:pt x="391" y="439"/>
                    <a:pt x="386" y="405"/>
                    <a:pt x="395" y="377"/>
                  </a:cubicBezTo>
                  <a:cubicBezTo>
                    <a:pt x="416" y="305"/>
                    <a:pt x="410" y="232"/>
                    <a:pt x="414" y="160"/>
                  </a:cubicBezTo>
                  <a:cubicBezTo>
                    <a:pt x="421" y="144"/>
                    <a:pt x="425" y="127"/>
                    <a:pt x="421" y="110"/>
                  </a:cubicBezTo>
                  <a:cubicBezTo>
                    <a:pt x="408" y="114"/>
                    <a:pt x="424" y="133"/>
                    <a:pt x="408" y="136"/>
                  </a:cubicBezTo>
                  <a:cubicBezTo>
                    <a:pt x="402" y="111"/>
                    <a:pt x="404" y="86"/>
                    <a:pt x="408" y="61"/>
                  </a:cubicBezTo>
                  <a:cubicBezTo>
                    <a:pt x="409" y="55"/>
                    <a:pt x="410" y="49"/>
                    <a:pt x="403" y="47"/>
                  </a:cubicBezTo>
                  <a:cubicBezTo>
                    <a:pt x="396" y="45"/>
                    <a:pt x="388" y="45"/>
                    <a:pt x="385" y="53"/>
                  </a:cubicBezTo>
                  <a:cubicBezTo>
                    <a:pt x="374" y="50"/>
                    <a:pt x="370" y="41"/>
                    <a:pt x="369" y="31"/>
                  </a:cubicBezTo>
                  <a:cubicBezTo>
                    <a:pt x="373" y="14"/>
                    <a:pt x="351" y="14"/>
                    <a:pt x="348" y="0"/>
                  </a:cubicBezTo>
                  <a:cubicBezTo>
                    <a:pt x="346" y="8"/>
                    <a:pt x="344" y="16"/>
                    <a:pt x="341" y="24"/>
                  </a:cubicBezTo>
                  <a:cubicBezTo>
                    <a:pt x="332" y="38"/>
                    <a:pt x="328" y="54"/>
                    <a:pt x="325" y="70"/>
                  </a:cubicBezTo>
                  <a:cubicBezTo>
                    <a:pt x="312" y="149"/>
                    <a:pt x="300" y="229"/>
                    <a:pt x="285" y="308"/>
                  </a:cubicBezTo>
                  <a:cubicBezTo>
                    <a:pt x="279" y="341"/>
                    <a:pt x="278" y="376"/>
                    <a:pt x="264" y="407"/>
                  </a:cubicBezTo>
                  <a:cubicBezTo>
                    <a:pt x="209" y="367"/>
                    <a:pt x="207" y="297"/>
                    <a:pt x="165" y="251"/>
                  </a:cubicBezTo>
                  <a:cubicBezTo>
                    <a:pt x="144" y="228"/>
                    <a:pt x="117" y="220"/>
                    <a:pt x="89" y="222"/>
                  </a:cubicBezTo>
                  <a:cubicBezTo>
                    <a:pt x="61" y="224"/>
                    <a:pt x="57" y="252"/>
                    <a:pt x="55" y="274"/>
                  </a:cubicBezTo>
                  <a:cubicBezTo>
                    <a:pt x="45" y="363"/>
                    <a:pt x="29" y="452"/>
                    <a:pt x="7" y="539"/>
                  </a:cubicBezTo>
                  <a:cubicBezTo>
                    <a:pt x="0" y="566"/>
                    <a:pt x="2" y="595"/>
                    <a:pt x="6" y="622"/>
                  </a:cubicBezTo>
                  <a:cubicBezTo>
                    <a:pt x="14" y="673"/>
                    <a:pt x="22" y="678"/>
                    <a:pt x="70" y="666"/>
                  </a:cubicBezTo>
                  <a:close/>
                </a:path>
              </a:pathLst>
            </a:custGeom>
            <a:solidFill>
              <a:schemeClr val="accent3">
                <a:alpha val="6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6"/>
                </a:solidFill>
              </a:endParaRPr>
            </a:p>
          </p:txBody>
        </p:sp>
        <p:sp>
          <p:nvSpPr>
            <p:cNvPr id="26" name="Freeform 7"/>
            <p:cNvSpPr/>
            <p:nvPr userDrawn="1"/>
          </p:nvSpPr>
          <p:spPr bwMode="auto">
            <a:xfrm>
              <a:off x="3781425" y="1284287"/>
              <a:ext cx="4832350" cy="739775"/>
            </a:xfrm>
            <a:custGeom>
              <a:avLst/>
              <a:gdLst>
                <a:gd name="T0" fmla="*/ 2501 w 2575"/>
                <a:gd name="T1" fmla="*/ 20 h 394"/>
                <a:gd name="T2" fmla="*/ 2494 w 2575"/>
                <a:gd name="T3" fmla="*/ 22 h 394"/>
                <a:gd name="T4" fmla="*/ 2477 w 2575"/>
                <a:gd name="T5" fmla="*/ 22 h 394"/>
                <a:gd name="T6" fmla="*/ 2278 w 2575"/>
                <a:gd name="T7" fmla="*/ 47 h 394"/>
                <a:gd name="T8" fmla="*/ 1713 w 2575"/>
                <a:gd name="T9" fmla="*/ 111 h 394"/>
                <a:gd name="T10" fmla="*/ 1248 w 2575"/>
                <a:gd name="T11" fmla="*/ 152 h 394"/>
                <a:gd name="T12" fmla="*/ 649 w 2575"/>
                <a:gd name="T13" fmla="*/ 207 h 394"/>
                <a:gd name="T14" fmla="*/ 107 w 2575"/>
                <a:gd name="T15" fmla="*/ 272 h 394"/>
                <a:gd name="T16" fmla="*/ 20 w 2575"/>
                <a:gd name="T17" fmla="*/ 296 h 394"/>
                <a:gd name="T18" fmla="*/ 2 w 2575"/>
                <a:gd name="T19" fmla="*/ 318 h 394"/>
                <a:gd name="T20" fmla="*/ 20 w 2575"/>
                <a:gd name="T21" fmla="*/ 335 h 394"/>
                <a:gd name="T22" fmla="*/ 53 w 2575"/>
                <a:gd name="T23" fmla="*/ 352 h 394"/>
                <a:gd name="T24" fmla="*/ 122 w 2575"/>
                <a:gd name="T25" fmla="*/ 385 h 394"/>
                <a:gd name="T26" fmla="*/ 500 w 2575"/>
                <a:gd name="T27" fmla="*/ 352 h 394"/>
                <a:gd name="T28" fmla="*/ 1185 w 2575"/>
                <a:gd name="T29" fmla="*/ 267 h 394"/>
                <a:gd name="T30" fmla="*/ 1483 w 2575"/>
                <a:gd name="T31" fmla="*/ 239 h 394"/>
                <a:gd name="T32" fmla="*/ 2021 w 2575"/>
                <a:gd name="T33" fmla="*/ 171 h 394"/>
                <a:gd name="T34" fmla="*/ 2075 w 2575"/>
                <a:gd name="T35" fmla="*/ 162 h 394"/>
                <a:gd name="T36" fmla="*/ 2134 w 2575"/>
                <a:gd name="T37" fmla="*/ 157 h 394"/>
                <a:gd name="T38" fmla="*/ 2172 w 2575"/>
                <a:gd name="T39" fmla="*/ 150 h 394"/>
                <a:gd name="T40" fmla="*/ 2206 w 2575"/>
                <a:gd name="T41" fmla="*/ 149 h 394"/>
                <a:gd name="T42" fmla="*/ 2234 w 2575"/>
                <a:gd name="T43" fmla="*/ 135 h 394"/>
                <a:gd name="T44" fmla="*/ 2258 w 2575"/>
                <a:gd name="T45" fmla="*/ 128 h 394"/>
                <a:gd name="T46" fmla="*/ 2416 w 2575"/>
                <a:gd name="T47" fmla="*/ 94 h 394"/>
                <a:gd name="T48" fmla="*/ 2448 w 2575"/>
                <a:gd name="T49" fmla="*/ 72 h 394"/>
                <a:gd name="T50" fmla="*/ 2450 w 2575"/>
                <a:gd name="T51" fmla="*/ 71 h 394"/>
                <a:gd name="T52" fmla="*/ 2453 w 2575"/>
                <a:gd name="T53" fmla="*/ 71 h 394"/>
                <a:gd name="T54" fmla="*/ 2475 w 2575"/>
                <a:gd name="T55" fmla="*/ 69 h 394"/>
                <a:gd name="T56" fmla="*/ 2475 w 2575"/>
                <a:gd name="T57" fmla="*/ 63 h 394"/>
                <a:gd name="T58" fmla="*/ 2455 w 2575"/>
                <a:gd name="T59" fmla="*/ 67 h 394"/>
                <a:gd name="T60" fmla="*/ 2463 w 2575"/>
                <a:gd name="T61" fmla="*/ 49 h 394"/>
                <a:gd name="T62" fmla="*/ 2471 w 2575"/>
                <a:gd name="T63" fmla="*/ 50 h 394"/>
                <a:gd name="T64" fmla="*/ 2471 w 2575"/>
                <a:gd name="T65" fmla="*/ 50 h 394"/>
                <a:gd name="T66" fmla="*/ 2516 w 2575"/>
                <a:gd name="T67" fmla="*/ 36 h 394"/>
                <a:gd name="T68" fmla="*/ 2575 w 2575"/>
                <a:gd name="T69" fmla="*/ 15 h 394"/>
                <a:gd name="T70" fmla="*/ 2501 w 2575"/>
                <a:gd name="T71" fmla="*/ 2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75" h="394">
                  <a:moveTo>
                    <a:pt x="2501" y="20"/>
                  </a:moveTo>
                  <a:cubicBezTo>
                    <a:pt x="2499" y="21"/>
                    <a:pt x="2496" y="21"/>
                    <a:pt x="2494" y="22"/>
                  </a:cubicBezTo>
                  <a:cubicBezTo>
                    <a:pt x="2488" y="22"/>
                    <a:pt x="2483" y="22"/>
                    <a:pt x="2477" y="22"/>
                  </a:cubicBezTo>
                  <a:cubicBezTo>
                    <a:pt x="2409" y="18"/>
                    <a:pt x="2344" y="37"/>
                    <a:pt x="2278" y="47"/>
                  </a:cubicBezTo>
                  <a:cubicBezTo>
                    <a:pt x="2091" y="74"/>
                    <a:pt x="1902" y="89"/>
                    <a:pt x="1713" y="111"/>
                  </a:cubicBezTo>
                  <a:cubicBezTo>
                    <a:pt x="1559" y="128"/>
                    <a:pt x="1403" y="134"/>
                    <a:pt x="1248" y="152"/>
                  </a:cubicBezTo>
                  <a:cubicBezTo>
                    <a:pt x="1049" y="174"/>
                    <a:pt x="849" y="186"/>
                    <a:pt x="649" y="207"/>
                  </a:cubicBezTo>
                  <a:cubicBezTo>
                    <a:pt x="468" y="227"/>
                    <a:pt x="287" y="244"/>
                    <a:pt x="107" y="272"/>
                  </a:cubicBezTo>
                  <a:cubicBezTo>
                    <a:pt x="77" y="277"/>
                    <a:pt x="47" y="283"/>
                    <a:pt x="20" y="296"/>
                  </a:cubicBezTo>
                  <a:cubicBezTo>
                    <a:pt x="11" y="301"/>
                    <a:pt x="0" y="306"/>
                    <a:pt x="2" y="318"/>
                  </a:cubicBezTo>
                  <a:cubicBezTo>
                    <a:pt x="3" y="328"/>
                    <a:pt x="12" y="331"/>
                    <a:pt x="20" y="335"/>
                  </a:cubicBezTo>
                  <a:cubicBezTo>
                    <a:pt x="32" y="340"/>
                    <a:pt x="50" y="340"/>
                    <a:pt x="53" y="352"/>
                  </a:cubicBezTo>
                  <a:cubicBezTo>
                    <a:pt x="63" y="394"/>
                    <a:pt x="96" y="387"/>
                    <a:pt x="122" y="385"/>
                  </a:cubicBezTo>
                  <a:cubicBezTo>
                    <a:pt x="248" y="376"/>
                    <a:pt x="374" y="366"/>
                    <a:pt x="500" y="352"/>
                  </a:cubicBezTo>
                  <a:cubicBezTo>
                    <a:pt x="729" y="326"/>
                    <a:pt x="955" y="282"/>
                    <a:pt x="1185" y="267"/>
                  </a:cubicBezTo>
                  <a:cubicBezTo>
                    <a:pt x="1284" y="260"/>
                    <a:pt x="1384" y="251"/>
                    <a:pt x="1483" y="239"/>
                  </a:cubicBezTo>
                  <a:cubicBezTo>
                    <a:pt x="1662" y="218"/>
                    <a:pt x="1842" y="194"/>
                    <a:pt x="2021" y="171"/>
                  </a:cubicBezTo>
                  <a:cubicBezTo>
                    <a:pt x="2039" y="168"/>
                    <a:pt x="2057" y="165"/>
                    <a:pt x="2075" y="162"/>
                  </a:cubicBezTo>
                  <a:cubicBezTo>
                    <a:pt x="2095" y="166"/>
                    <a:pt x="2113" y="148"/>
                    <a:pt x="2134" y="157"/>
                  </a:cubicBezTo>
                  <a:cubicBezTo>
                    <a:pt x="2148" y="161"/>
                    <a:pt x="2162" y="160"/>
                    <a:pt x="2172" y="150"/>
                  </a:cubicBezTo>
                  <a:cubicBezTo>
                    <a:pt x="2184" y="138"/>
                    <a:pt x="2194" y="146"/>
                    <a:pt x="2206" y="149"/>
                  </a:cubicBezTo>
                  <a:cubicBezTo>
                    <a:pt x="2214" y="141"/>
                    <a:pt x="2229" y="150"/>
                    <a:pt x="2234" y="135"/>
                  </a:cubicBezTo>
                  <a:cubicBezTo>
                    <a:pt x="2241" y="129"/>
                    <a:pt x="2256" y="152"/>
                    <a:pt x="2258" y="128"/>
                  </a:cubicBezTo>
                  <a:cubicBezTo>
                    <a:pt x="2310" y="114"/>
                    <a:pt x="2362" y="98"/>
                    <a:pt x="2416" y="94"/>
                  </a:cubicBezTo>
                  <a:cubicBezTo>
                    <a:pt x="2430" y="92"/>
                    <a:pt x="2455" y="105"/>
                    <a:pt x="2448" y="72"/>
                  </a:cubicBezTo>
                  <a:cubicBezTo>
                    <a:pt x="2450" y="71"/>
                    <a:pt x="2450" y="71"/>
                    <a:pt x="2450" y="71"/>
                  </a:cubicBezTo>
                  <a:cubicBezTo>
                    <a:pt x="2453" y="71"/>
                    <a:pt x="2453" y="71"/>
                    <a:pt x="2453" y="71"/>
                  </a:cubicBezTo>
                  <a:cubicBezTo>
                    <a:pt x="2461" y="76"/>
                    <a:pt x="2469" y="77"/>
                    <a:pt x="2475" y="69"/>
                  </a:cubicBezTo>
                  <a:cubicBezTo>
                    <a:pt x="2476" y="68"/>
                    <a:pt x="2476" y="63"/>
                    <a:pt x="2475" y="63"/>
                  </a:cubicBezTo>
                  <a:cubicBezTo>
                    <a:pt x="2468" y="59"/>
                    <a:pt x="2462" y="64"/>
                    <a:pt x="2455" y="67"/>
                  </a:cubicBezTo>
                  <a:cubicBezTo>
                    <a:pt x="2446" y="56"/>
                    <a:pt x="2453" y="52"/>
                    <a:pt x="2463" y="49"/>
                  </a:cubicBezTo>
                  <a:cubicBezTo>
                    <a:pt x="2466" y="50"/>
                    <a:pt x="2468" y="50"/>
                    <a:pt x="2471" y="50"/>
                  </a:cubicBezTo>
                  <a:cubicBezTo>
                    <a:pt x="2471" y="50"/>
                    <a:pt x="2471" y="50"/>
                    <a:pt x="2471" y="50"/>
                  </a:cubicBezTo>
                  <a:cubicBezTo>
                    <a:pt x="2487" y="50"/>
                    <a:pt x="2504" y="50"/>
                    <a:pt x="2516" y="36"/>
                  </a:cubicBezTo>
                  <a:cubicBezTo>
                    <a:pt x="2538" y="36"/>
                    <a:pt x="2551" y="11"/>
                    <a:pt x="2575" y="15"/>
                  </a:cubicBezTo>
                  <a:cubicBezTo>
                    <a:pt x="2549" y="0"/>
                    <a:pt x="2525" y="12"/>
                    <a:pt x="2501" y="20"/>
                  </a:cubicBezTo>
                  <a:close/>
                </a:path>
              </a:pathLst>
            </a:custGeom>
            <a:solidFill>
              <a:schemeClr val="accent3">
                <a:alpha val="6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6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3929063" y="6350"/>
              <a:ext cx="1911350" cy="1619250"/>
            </a:xfrm>
            <a:custGeom>
              <a:avLst/>
              <a:gdLst>
                <a:gd name="T0" fmla="*/ 47 w 1018"/>
                <a:gd name="T1" fmla="*/ 358 h 862"/>
                <a:gd name="T2" fmla="*/ 51 w 1018"/>
                <a:gd name="T3" fmla="*/ 449 h 862"/>
                <a:gd name="T4" fmla="*/ 70 w 1018"/>
                <a:gd name="T5" fmla="*/ 534 h 862"/>
                <a:gd name="T6" fmla="*/ 182 w 1018"/>
                <a:gd name="T7" fmla="*/ 591 h 862"/>
                <a:gd name="T8" fmla="*/ 210 w 1018"/>
                <a:gd name="T9" fmla="*/ 513 h 862"/>
                <a:gd name="T10" fmla="*/ 403 w 1018"/>
                <a:gd name="T11" fmla="*/ 371 h 862"/>
                <a:gd name="T12" fmla="*/ 332 w 1018"/>
                <a:gd name="T13" fmla="*/ 844 h 862"/>
                <a:gd name="T14" fmla="*/ 395 w 1018"/>
                <a:gd name="T15" fmla="*/ 829 h 862"/>
                <a:gd name="T16" fmla="*/ 514 w 1018"/>
                <a:gd name="T17" fmla="*/ 372 h 862"/>
                <a:gd name="T18" fmla="*/ 586 w 1018"/>
                <a:gd name="T19" fmla="*/ 338 h 862"/>
                <a:gd name="T20" fmla="*/ 588 w 1018"/>
                <a:gd name="T21" fmla="*/ 631 h 862"/>
                <a:gd name="T22" fmla="*/ 588 w 1018"/>
                <a:gd name="T23" fmla="*/ 631 h 862"/>
                <a:gd name="T24" fmla="*/ 609 w 1018"/>
                <a:gd name="T25" fmla="*/ 631 h 862"/>
                <a:gd name="T26" fmla="*/ 609 w 1018"/>
                <a:gd name="T27" fmla="*/ 631 h 862"/>
                <a:gd name="T28" fmla="*/ 692 w 1018"/>
                <a:gd name="T29" fmla="*/ 481 h 862"/>
                <a:gd name="T30" fmla="*/ 843 w 1018"/>
                <a:gd name="T31" fmla="*/ 477 h 862"/>
                <a:gd name="T32" fmla="*/ 978 w 1018"/>
                <a:gd name="T33" fmla="*/ 679 h 862"/>
                <a:gd name="T34" fmla="*/ 996 w 1018"/>
                <a:gd name="T35" fmla="*/ 573 h 862"/>
                <a:gd name="T36" fmla="*/ 946 w 1018"/>
                <a:gd name="T37" fmla="*/ 385 h 862"/>
                <a:gd name="T38" fmla="*/ 907 w 1018"/>
                <a:gd name="T39" fmla="*/ 334 h 862"/>
                <a:gd name="T40" fmla="*/ 753 w 1018"/>
                <a:gd name="T41" fmla="*/ 48 h 862"/>
                <a:gd name="T42" fmla="*/ 666 w 1018"/>
                <a:gd name="T43" fmla="*/ 83 h 862"/>
                <a:gd name="T44" fmla="*/ 673 w 1018"/>
                <a:gd name="T45" fmla="*/ 161 h 862"/>
                <a:gd name="T46" fmla="*/ 582 w 1018"/>
                <a:gd name="T47" fmla="*/ 89 h 862"/>
                <a:gd name="T48" fmla="*/ 486 w 1018"/>
                <a:gd name="T49" fmla="*/ 48 h 862"/>
                <a:gd name="T50" fmla="*/ 426 w 1018"/>
                <a:gd name="T51" fmla="*/ 250 h 862"/>
                <a:gd name="T52" fmla="*/ 276 w 1018"/>
                <a:gd name="T53" fmla="*/ 318 h 862"/>
                <a:gd name="T54" fmla="*/ 281 w 1018"/>
                <a:gd name="T55" fmla="*/ 191 h 862"/>
                <a:gd name="T56" fmla="*/ 279 w 1018"/>
                <a:gd name="T57" fmla="*/ 76 h 862"/>
                <a:gd name="T58" fmla="*/ 171 w 1018"/>
                <a:gd name="T59" fmla="*/ 100 h 862"/>
                <a:gd name="T60" fmla="*/ 59 w 1018"/>
                <a:gd name="T61" fmla="*/ 358 h 862"/>
                <a:gd name="T62" fmla="*/ 725 w 1018"/>
                <a:gd name="T63" fmla="*/ 232 h 862"/>
                <a:gd name="T64" fmla="*/ 779 w 1018"/>
                <a:gd name="T65" fmla="*/ 382 h 862"/>
                <a:gd name="T66" fmla="*/ 697 w 1018"/>
                <a:gd name="T67" fmla="*/ 28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18" h="862">
                  <a:moveTo>
                    <a:pt x="59" y="358"/>
                  </a:moveTo>
                  <a:cubicBezTo>
                    <a:pt x="55" y="358"/>
                    <a:pt x="51" y="357"/>
                    <a:pt x="47" y="358"/>
                  </a:cubicBezTo>
                  <a:cubicBezTo>
                    <a:pt x="29" y="362"/>
                    <a:pt x="8" y="362"/>
                    <a:pt x="2" y="386"/>
                  </a:cubicBezTo>
                  <a:cubicBezTo>
                    <a:pt x="0" y="398"/>
                    <a:pt x="40" y="448"/>
                    <a:pt x="51" y="449"/>
                  </a:cubicBezTo>
                  <a:cubicBezTo>
                    <a:pt x="97" y="456"/>
                    <a:pt x="97" y="456"/>
                    <a:pt x="79" y="502"/>
                  </a:cubicBezTo>
                  <a:cubicBezTo>
                    <a:pt x="75" y="512"/>
                    <a:pt x="70" y="523"/>
                    <a:pt x="70" y="534"/>
                  </a:cubicBezTo>
                  <a:cubicBezTo>
                    <a:pt x="69" y="550"/>
                    <a:pt x="60" y="573"/>
                    <a:pt x="83" y="580"/>
                  </a:cubicBezTo>
                  <a:cubicBezTo>
                    <a:pt x="115" y="590"/>
                    <a:pt x="149" y="598"/>
                    <a:pt x="182" y="591"/>
                  </a:cubicBezTo>
                  <a:cubicBezTo>
                    <a:pt x="196" y="589"/>
                    <a:pt x="208" y="578"/>
                    <a:pt x="208" y="559"/>
                  </a:cubicBezTo>
                  <a:cubicBezTo>
                    <a:pt x="208" y="544"/>
                    <a:pt x="209" y="528"/>
                    <a:pt x="210" y="513"/>
                  </a:cubicBezTo>
                  <a:cubicBezTo>
                    <a:pt x="211" y="482"/>
                    <a:pt x="210" y="443"/>
                    <a:pt x="238" y="427"/>
                  </a:cubicBezTo>
                  <a:cubicBezTo>
                    <a:pt x="286" y="398"/>
                    <a:pt x="343" y="388"/>
                    <a:pt x="403" y="371"/>
                  </a:cubicBezTo>
                  <a:cubicBezTo>
                    <a:pt x="386" y="444"/>
                    <a:pt x="369" y="509"/>
                    <a:pt x="354" y="576"/>
                  </a:cubicBezTo>
                  <a:cubicBezTo>
                    <a:pt x="333" y="664"/>
                    <a:pt x="320" y="753"/>
                    <a:pt x="332" y="844"/>
                  </a:cubicBezTo>
                  <a:cubicBezTo>
                    <a:pt x="334" y="862"/>
                    <a:pt x="350" y="858"/>
                    <a:pt x="351" y="858"/>
                  </a:cubicBezTo>
                  <a:cubicBezTo>
                    <a:pt x="365" y="846"/>
                    <a:pt x="386" y="841"/>
                    <a:pt x="395" y="829"/>
                  </a:cubicBezTo>
                  <a:cubicBezTo>
                    <a:pt x="410" y="808"/>
                    <a:pt x="418" y="781"/>
                    <a:pt x="426" y="756"/>
                  </a:cubicBezTo>
                  <a:cubicBezTo>
                    <a:pt x="463" y="630"/>
                    <a:pt x="490" y="501"/>
                    <a:pt x="514" y="372"/>
                  </a:cubicBezTo>
                  <a:cubicBezTo>
                    <a:pt x="524" y="323"/>
                    <a:pt x="547" y="297"/>
                    <a:pt x="593" y="285"/>
                  </a:cubicBezTo>
                  <a:cubicBezTo>
                    <a:pt x="596" y="304"/>
                    <a:pt x="591" y="322"/>
                    <a:pt x="586" y="338"/>
                  </a:cubicBezTo>
                  <a:cubicBezTo>
                    <a:pt x="566" y="401"/>
                    <a:pt x="553" y="465"/>
                    <a:pt x="558" y="530"/>
                  </a:cubicBezTo>
                  <a:cubicBezTo>
                    <a:pt x="560" y="563"/>
                    <a:pt x="546" y="607"/>
                    <a:pt x="588" y="631"/>
                  </a:cubicBezTo>
                  <a:cubicBezTo>
                    <a:pt x="588" y="631"/>
                    <a:pt x="588" y="631"/>
                    <a:pt x="588" y="631"/>
                  </a:cubicBezTo>
                  <a:cubicBezTo>
                    <a:pt x="588" y="631"/>
                    <a:pt x="588" y="631"/>
                    <a:pt x="588" y="631"/>
                  </a:cubicBezTo>
                  <a:cubicBezTo>
                    <a:pt x="591" y="641"/>
                    <a:pt x="594" y="650"/>
                    <a:pt x="598" y="661"/>
                  </a:cubicBezTo>
                  <a:cubicBezTo>
                    <a:pt x="607" y="651"/>
                    <a:pt x="609" y="642"/>
                    <a:pt x="609" y="631"/>
                  </a:cubicBezTo>
                  <a:cubicBezTo>
                    <a:pt x="607" y="629"/>
                    <a:pt x="604" y="627"/>
                    <a:pt x="602" y="626"/>
                  </a:cubicBezTo>
                  <a:cubicBezTo>
                    <a:pt x="604" y="625"/>
                    <a:pt x="607" y="626"/>
                    <a:pt x="609" y="631"/>
                  </a:cubicBezTo>
                  <a:cubicBezTo>
                    <a:pt x="624" y="577"/>
                    <a:pt x="623" y="519"/>
                    <a:pt x="642" y="463"/>
                  </a:cubicBezTo>
                  <a:cubicBezTo>
                    <a:pt x="658" y="474"/>
                    <a:pt x="674" y="479"/>
                    <a:pt x="692" y="481"/>
                  </a:cubicBezTo>
                  <a:cubicBezTo>
                    <a:pt x="733" y="487"/>
                    <a:pt x="770" y="466"/>
                    <a:pt x="810" y="461"/>
                  </a:cubicBezTo>
                  <a:cubicBezTo>
                    <a:pt x="830" y="459"/>
                    <a:pt x="836" y="462"/>
                    <a:pt x="843" y="477"/>
                  </a:cubicBezTo>
                  <a:cubicBezTo>
                    <a:pt x="865" y="521"/>
                    <a:pt x="881" y="567"/>
                    <a:pt x="890" y="617"/>
                  </a:cubicBezTo>
                  <a:cubicBezTo>
                    <a:pt x="902" y="691"/>
                    <a:pt x="905" y="690"/>
                    <a:pt x="978" y="679"/>
                  </a:cubicBezTo>
                  <a:cubicBezTo>
                    <a:pt x="1013" y="674"/>
                    <a:pt x="1018" y="655"/>
                    <a:pt x="1013" y="627"/>
                  </a:cubicBezTo>
                  <a:cubicBezTo>
                    <a:pt x="1010" y="609"/>
                    <a:pt x="1005" y="590"/>
                    <a:pt x="996" y="573"/>
                  </a:cubicBezTo>
                  <a:cubicBezTo>
                    <a:pt x="971" y="523"/>
                    <a:pt x="959" y="469"/>
                    <a:pt x="943" y="416"/>
                  </a:cubicBezTo>
                  <a:cubicBezTo>
                    <a:pt x="939" y="404"/>
                    <a:pt x="941" y="394"/>
                    <a:pt x="946" y="385"/>
                  </a:cubicBezTo>
                  <a:cubicBezTo>
                    <a:pt x="958" y="363"/>
                    <a:pt x="952" y="345"/>
                    <a:pt x="929" y="342"/>
                  </a:cubicBezTo>
                  <a:cubicBezTo>
                    <a:pt x="920" y="341"/>
                    <a:pt x="913" y="345"/>
                    <a:pt x="907" y="334"/>
                  </a:cubicBezTo>
                  <a:cubicBezTo>
                    <a:pt x="880" y="282"/>
                    <a:pt x="848" y="233"/>
                    <a:pt x="825" y="180"/>
                  </a:cubicBezTo>
                  <a:cubicBezTo>
                    <a:pt x="805" y="134"/>
                    <a:pt x="781" y="90"/>
                    <a:pt x="753" y="48"/>
                  </a:cubicBezTo>
                  <a:cubicBezTo>
                    <a:pt x="749" y="41"/>
                    <a:pt x="743" y="28"/>
                    <a:pt x="735" y="32"/>
                  </a:cubicBezTo>
                  <a:cubicBezTo>
                    <a:pt x="710" y="45"/>
                    <a:pt x="684" y="60"/>
                    <a:pt x="666" y="83"/>
                  </a:cubicBezTo>
                  <a:cubicBezTo>
                    <a:pt x="653" y="100"/>
                    <a:pt x="673" y="112"/>
                    <a:pt x="676" y="127"/>
                  </a:cubicBezTo>
                  <a:cubicBezTo>
                    <a:pt x="678" y="139"/>
                    <a:pt x="696" y="150"/>
                    <a:pt x="673" y="161"/>
                  </a:cubicBezTo>
                  <a:cubicBezTo>
                    <a:pt x="636" y="178"/>
                    <a:pt x="601" y="201"/>
                    <a:pt x="557" y="213"/>
                  </a:cubicBezTo>
                  <a:cubicBezTo>
                    <a:pt x="566" y="170"/>
                    <a:pt x="573" y="129"/>
                    <a:pt x="582" y="89"/>
                  </a:cubicBezTo>
                  <a:cubicBezTo>
                    <a:pt x="592" y="45"/>
                    <a:pt x="584" y="29"/>
                    <a:pt x="539" y="12"/>
                  </a:cubicBezTo>
                  <a:cubicBezTo>
                    <a:pt x="506" y="0"/>
                    <a:pt x="499" y="30"/>
                    <a:pt x="486" y="48"/>
                  </a:cubicBezTo>
                  <a:cubicBezTo>
                    <a:pt x="474" y="64"/>
                    <a:pt x="466" y="83"/>
                    <a:pt x="462" y="103"/>
                  </a:cubicBezTo>
                  <a:cubicBezTo>
                    <a:pt x="450" y="152"/>
                    <a:pt x="438" y="201"/>
                    <a:pt x="426" y="250"/>
                  </a:cubicBezTo>
                  <a:cubicBezTo>
                    <a:pt x="423" y="263"/>
                    <a:pt x="421" y="275"/>
                    <a:pt x="406" y="280"/>
                  </a:cubicBezTo>
                  <a:cubicBezTo>
                    <a:pt x="363" y="292"/>
                    <a:pt x="319" y="305"/>
                    <a:pt x="276" y="318"/>
                  </a:cubicBezTo>
                  <a:cubicBezTo>
                    <a:pt x="255" y="324"/>
                    <a:pt x="252" y="314"/>
                    <a:pt x="255" y="297"/>
                  </a:cubicBezTo>
                  <a:cubicBezTo>
                    <a:pt x="261" y="261"/>
                    <a:pt x="266" y="225"/>
                    <a:pt x="281" y="191"/>
                  </a:cubicBezTo>
                  <a:cubicBezTo>
                    <a:pt x="294" y="161"/>
                    <a:pt x="298" y="130"/>
                    <a:pt x="300" y="99"/>
                  </a:cubicBezTo>
                  <a:cubicBezTo>
                    <a:pt x="301" y="83"/>
                    <a:pt x="297" y="76"/>
                    <a:pt x="279" y="76"/>
                  </a:cubicBezTo>
                  <a:cubicBezTo>
                    <a:pt x="261" y="75"/>
                    <a:pt x="242" y="71"/>
                    <a:pt x="224" y="66"/>
                  </a:cubicBezTo>
                  <a:cubicBezTo>
                    <a:pt x="192" y="57"/>
                    <a:pt x="183" y="72"/>
                    <a:pt x="171" y="100"/>
                  </a:cubicBezTo>
                  <a:cubicBezTo>
                    <a:pt x="143" y="164"/>
                    <a:pt x="145" y="233"/>
                    <a:pt x="126" y="298"/>
                  </a:cubicBezTo>
                  <a:cubicBezTo>
                    <a:pt x="114" y="341"/>
                    <a:pt x="97" y="356"/>
                    <a:pt x="59" y="358"/>
                  </a:cubicBezTo>
                  <a:close/>
                  <a:moveTo>
                    <a:pt x="697" y="282"/>
                  </a:moveTo>
                  <a:cubicBezTo>
                    <a:pt x="703" y="265"/>
                    <a:pt x="715" y="249"/>
                    <a:pt x="725" y="232"/>
                  </a:cubicBezTo>
                  <a:cubicBezTo>
                    <a:pt x="757" y="273"/>
                    <a:pt x="777" y="314"/>
                    <a:pt x="794" y="358"/>
                  </a:cubicBezTo>
                  <a:cubicBezTo>
                    <a:pt x="802" y="378"/>
                    <a:pt x="797" y="383"/>
                    <a:pt x="779" y="382"/>
                  </a:cubicBezTo>
                  <a:cubicBezTo>
                    <a:pt x="774" y="382"/>
                    <a:pt x="769" y="383"/>
                    <a:pt x="764" y="383"/>
                  </a:cubicBezTo>
                  <a:cubicBezTo>
                    <a:pt x="618" y="393"/>
                    <a:pt x="664" y="384"/>
                    <a:pt x="697" y="282"/>
                  </a:cubicBezTo>
                  <a:close/>
                </a:path>
              </a:pathLst>
            </a:custGeom>
            <a:solidFill>
              <a:schemeClr val="accent3">
                <a:alpha val="6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6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6592888" y="-477838"/>
              <a:ext cx="1638300" cy="1947863"/>
            </a:xfrm>
            <a:custGeom>
              <a:avLst/>
              <a:gdLst>
                <a:gd name="T0" fmla="*/ 14 w 873"/>
                <a:gd name="T1" fmla="*/ 1009 h 1036"/>
                <a:gd name="T2" fmla="*/ 20 w 873"/>
                <a:gd name="T3" fmla="*/ 1026 h 1036"/>
                <a:gd name="T4" fmla="*/ 44 w 873"/>
                <a:gd name="T5" fmla="*/ 1024 h 1036"/>
                <a:gd name="T6" fmla="*/ 118 w 873"/>
                <a:gd name="T7" fmla="*/ 878 h 1036"/>
                <a:gd name="T8" fmla="*/ 151 w 873"/>
                <a:gd name="T9" fmla="*/ 746 h 1036"/>
                <a:gd name="T10" fmla="*/ 167 w 873"/>
                <a:gd name="T11" fmla="*/ 764 h 1036"/>
                <a:gd name="T12" fmla="*/ 280 w 873"/>
                <a:gd name="T13" fmla="*/ 911 h 1036"/>
                <a:gd name="T14" fmla="*/ 435 w 873"/>
                <a:gd name="T15" fmla="*/ 964 h 1036"/>
                <a:gd name="T16" fmla="*/ 466 w 873"/>
                <a:gd name="T17" fmla="*/ 913 h 1036"/>
                <a:gd name="T18" fmla="*/ 696 w 873"/>
                <a:gd name="T19" fmla="*/ 846 h 1036"/>
                <a:gd name="T20" fmla="*/ 762 w 873"/>
                <a:gd name="T21" fmla="*/ 639 h 1036"/>
                <a:gd name="T22" fmla="*/ 639 w 873"/>
                <a:gd name="T23" fmla="*/ 496 h 1036"/>
                <a:gd name="T24" fmla="*/ 650 w 873"/>
                <a:gd name="T25" fmla="*/ 490 h 1036"/>
                <a:gd name="T26" fmla="*/ 676 w 873"/>
                <a:gd name="T27" fmla="*/ 443 h 1036"/>
                <a:gd name="T28" fmla="*/ 650 w 873"/>
                <a:gd name="T29" fmla="*/ 416 h 1036"/>
                <a:gd name="T30" fmla="*/ 650 w 873"/>
                <a:gd name="T31" fmla="*/ 401 h 1036"/>
                <a:gd name="T32" fmla="*/ 766 w 873"/>
                <a:gd name="T33" fmla="*/ 311 h 1036"/>
                <a:gd name="T34" fmla="*/ 837 w 873"/>
                <a:gd name="T35" fmla="*/ 325 h 1036"/>
                <a:gd name="T36" fmla="*/ 837 w 873"/>
                <a:gd name="T37" fmla="*/ 325 h 1036"/>
                <a:gd name="T38" fmla="*/ 863 w 873"/>
                <a:gd name="T39" fmla="*/ 362 h 1036"/>
                <a:gd name="T40" fmla="*/ 858 w 873"/>
                <a:gd name="T41" fmla="*/ 317 h 1036"/>
                <a:gd name="T42" fmla="*/ 861 w 873"/>
                <a:gd name="T43" fmla="*/ 281 h 1036"/>
                <a:gd name="T44" fmla="*/ 677 w 873"/>
                <a:gd name="T45" fmla="*/ 218 h 1036"/>
                <a:gd name="T46" fmla="*/ 613 w 873"/>
                <a:gd name="T47" fmla="*/ 265 h 1036"/>
                <a:gd name="T48" fmla="*/ 474 w 873"/>
                <a:gd name="T49" fmla="*/ 462 h 1036"/>
                <a:gd name="T50" fmla="*/ 446 w 873"/>
                <a:gd name="T51" fmla="*/ 482 h 1036"/>
                <a:gd name="T52" fmla="*/ 227 w 873"/>
                <a:gd name="T53" fmla="*/ 529 h 1036"/>
                <a:gd name="T54" fmla="*/ 204 w 873"/>
                <a:gd name="T55" fmla="*/ 507 h 1036"/>
                <a:gd name="T56" fmla="*/ 256 w 873"/>
                <a:gd name="T57" fmla="*/ 298 h 1036"/>
                <a:gd name="T58" fmla="*/ 306 w 873"/>
                <a:gd name="T59" fmla="*/ 72 h 1036"/>
                <a:gd name="T60" fmla="*/ 256 w 873"/>
                <a:gd name="T61" fmla="*/ 12 h 1036"/>
                <a:gd name="T62" fmla="*/ 217 w 873"/>
                <a:gd name="T63" fmla="*/ 37 h 1036"/>
                <a:gd name="T64" fmla="*/ 173 w 873"/>
                <a:gd name="T65" fmla="*/ 140 h 1036"/>
                <a:gd name="T66" fmla="*/ 88 w 873"/>
                <a:gd name="T67" fmla="*/ 513 h 1036"/>
                <a:gd name="T68" fmla="*/ 57 w 873"/>
                <a:gd name="T69" fmla="*/ 633 h 1036"/>
                <a:gd name="T70" fmla="*/ 14 w 873"/>
                <a:gd name="T71" fmla="*/ 1009 h 1036"/>
                <a:gd name="T72" fmla="*/ 431 w 873"/>
                <a:gd name="T73" fmla="*/ 585 h 1036"/>
                <a:gd name="T74" fmla="*/ 442 w 873"/>
                <a:gd name="T75" fmla="*/ 583 h 1036"/>
                <a:gd name="T76" fmla="*/ 566 w 873"/>
                <a:gd name="T77" fmla="*/ 617 h 1036"/>
                <a:gd name="T78" fmla="*/ 617 w 873"/>
                <a:gd name="T79" fmla="*/ 656 h 1036"/>
                <a:gd name="T80" fmla="*/ 629 w 873"/>
                <a:gd name="T81" fmla="*/ 754 h 1036"/>
                <a:gd name="T82" fmla="*/ 521 w 873"/>
                <a:gd name="T83" fmla="*/ 826 h 1036"/>
                <a:gd name="T84" fmla="*/ 469 w 873"/>
                <a:gd name="T85" fmla="*/ 873 h 1036"/>
                <a:gd name="T86" fmla="*/ 456 w 873"/>
                <a:gd name="T87" fmla="*/ 875 h 1036"/>
                <a:gd name="T88" fmla="*/ 440 w 873"/>
                <a:gd name="T89" fmla="*/ 881 h 1036"/>
                <a:gd name="T90" fmla="*/ 440 w 873"/>
                <a:gd name="T91" fmla="*/ 881 h 1036"/>
                <a:gd name="T92" fmla="*/ 440 w 873"/>
                <a:gd name="T93" fmla="*/ 881 h 1036"/>
                <a:gd name="T94" fmla="*/ 370 w 873"/>
                <a:gd name="T95" fmla="*/ 820 h 1036"/>
                <a:gd name="T96" fmla="*/ 313 w 873"/>
                <a:gd name="T97" fmla="*/ 762 h 1036"/>
                <a:gd name="T98" fmla="*/ 205 w 873"/>
                <a:gd name="T99" fmla="*/ 650 h 1036"/>
                <a:gd name="T100" fmla="*/ 431 w 873"/>
                <a:gd name="T101" fmla="*/ 58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3" h="1036">
                  <a:moveTo>
                    <a:pt x="14" y="1009"/>
                  </a:moveTo>
                  <a:cubicBezTo>
                    <a:pt x="14" y="1015"/>
                    <a:pt x="9" y="1032"/>
                    <a:pt x="20" y="1026"/>
                  </a:cubicBezTo>
                  <a:cubicBezTo>
                    <a:pt x="29" y="1021"/>
                    <a:pt x="33" y="1036"/>
                    <a:pt x="44" y="1024"/>
                  </a:cubicBezTo>
                  <a:cubicBezTo>
                    <a:pt x="83" y="982"/>
                    <a:pt x="105" y="933"/>
                    <a:pt x="118" y="878"/>
                  </a:cubicBezTo>
                  <a:cubicBezTo>
                    <a:pt x="129" y="836"/>
                    <a:pt x="139" y="793"/>
                    <a:pt x="151" y="746"/>
                  </a:cubicBezTo>
                  <a:cubicBezTo>
                    <a:pt x="159" y="755"/>
                    <a:pt x="164" y="759"/>
                    <a:pt x="167" y="764"/>
                  </a:cubicBezTo>
                  <a:cubicBezTo>
                    <a:pt x="205" y="813"/>
                    <a:pt x="243" y="862"/>
                    <a:pt x="280" y="911"/>
                  </a:cubicBezTo>
                  <a:cubicBezTo>
                    <a:pt x="320" y="964"/>
                    <a:pt x="374" y="978"/>
                    <a:pt x="435" y="964"/>
                  </a:cubicBezTo>
                  <a:cubicBezTo>
                    <a:pt x="460" y="959"/>
                    <a:pt x="488" y="949"/>
                    <a:pt x="466" y="913"/>
                  </a:cubicBezTo>
                  <a:cubicBezTo>
                    <a:pt x="550" y="909"/>
                    <a:pt x="628" y="898"/>
                    <a:pt x="696" y="846"/>
                  </a:cubicBezTo>
                  <a:cubicBezTo>
                    <a:pt x="763" y="796"/>
                    <a:pt x="789" y="719"/>
                    <a:pt x="762" y="639"/>
                  </a:cubicBezTo>
                  <a:cubicBezTo>
                    <a:pt x="741" y="574"/>
                    <a:pt x="691" y="535"/>
                    <a:pt x="639" y="496"/>
                  </a:cubicBezTo>
                  <a:cubicBezTo>
                    <a:pt x="644" y="494"/>
                    <a:pt x="647" y="492"/>
                    <a:pt x="650" y="490"/>
                  </a:cubicBezTo>
                  <a:cubicBezTo>
                    <a:pt x="665" y="478"/>
                    <a:pt x="673" y="460"/>
                    <a:pt x="676" y="443"/>
                  </a:cubicBezTo>
                  <a:cubicBezTo>
                    <a:pt x="679" y="429"/>
                    <a:pt x="671" y="415"/>
                    <a:pt x="650" y="416"/>
                  </a:cubicBezTo>
                  <a:cubicBezTo>
                    <a:pt x="643" y="416"/>
                    <a:pt x="646" y="404"/>
                    <a:pt x="650" y="401"/>
                  </a:cubicBezTo>
                  <a:cubicBezTo>
                    <a:pt x="689" y="371"/>
                    <a:pt x="702" y="310"/>
                    <a:pt x="766" y="311"/>
                  </a:cubicBezTo>
                  <a:cubicBezTo>
                    <a:pt x="791" y="312"/>
                    <a:pt x="813" y="322"/>
                    <a:pt x="837" y="325"/>
                  </a:cubicBezTo>
                  <a:cubicBezTo>
                    <a:pt x="837" y="325"/>
                    <a:pt x="837" y="325"/>
                    <a:pt x="837" y="325"/>
                  </a:cubicBezTo>
                  <a:cubicBezTo>
                    <a:pt x="840" y="341"/>
                    <a:pt x="860" y="345"/>
                    <a:pt x="863" y="362"/>
                  </a:cubicBezTo>
                  <a:cubicBezTo>
                    <a:pt x="870" y="345"/>
                    <a:pt x="868" y="331"/>
                    <a:pt x="858" y="317"/>
                  </a:cubicBezTo>
                  <a:cubicBezTo>
                    <a:pt x="873" y="306"/>
                    <a:pt x="868" y="294"/>
                    <a:pt x="861" y="281"/>
                  </a:cubicBezTo>
                  <a:cubicBezTo>
                    <a:pt x="835" y="230"/>
                    <a:pt x="755" y="177"/>
                    <a:pt x="677" y="218"/>
                  </a:cubicBezTo>
                  <a:cubicBezTo>
                    <a:pt x="653" y="231"/>
                    <a:pt x="632" y="246"/>
                    <a:pt x="613" y="265"/>
                  </a:cubicBezTo>
                  <a:cubicBezTo>
                    <a:pt x="555" y="322"/>
                    <a:pt x="490" y="375"/>
                    <a:pt x="474" y="462"/>
                  </a:cubicBezTo>
                  <a:cubicBezTo>
                    <a:pt x="470" y="480"/>
                    <a:pt x="457" y="478"/>
                    <a:pt x="446" y="482"/>
                  </a:cubicBezTo>
                  <a:cubicBezTo>
                    <a:pt x="374" y="504"/>
                    <a:pt x="301" y="514"/>
                    <a:pt x="227" y="529"/>
                  </a:cubicBezTo>
                  <a:cubicBezTo>
                    <a:pt x="205" y="533"/>
                    <a:pt x="200" y="526"/>
                    <a:pt x="204" y="507"/>
                  </a:cubicBezTo>
                  <a:cubicBezTo>
                    <a:pt x="221" y="437"/>
                    <a:pt x="236" y="367"/>
                    <a:pt x="256" y="298"/>
                  </a:cubicBezTo>
                  <a:cubicBezTo>
                    <a:pt x="277" y="223"/>
                    <a:pt x="288" y="147"/>
                    <a:pt x="306" y="72"/>
                  </a:cubicBezTo>
                  <a:cubicBezTo>
                    <a:pt x="315" y="32"/>
                    <a:pt x="281" y="24"/>
                    <a:pt x="256" y="12"/>
                  </a:cubicBezTo>
                  <a:cubicBezTo>
                    <a:pt x="233" y="0"/>
                    <a:pt x="226" y="24"/>
                    <a:pt x="217" y="37"/>
                  </a:cubicBezTo>
                  <a:cubicBezTo>
                    <a:pt x="194" y="68"/>
                    <a:pt x="181" y="103"/>
                    <a:pt x="173" y="140"/>
                  </a:cubicBezTo>
                  <a:cubicBezTo>
                    <a:pt x="145" y="265"/>
                    <a:pt x="120" y="390"/>
                    <a:pt x="88" y="513"/>
                  </a:cubicBezTo>
                  <a:cubicBezTo>
                    <a:pt x="77" y="553"/>
                    <a:pt x="64" y="591"/>
                    <a:pt x="57" y="633"/>
                  </a:cubicBezTo>
                  <a:cubicBezTo>
                    <a:pt x="35" y="758"/>
                    <a:pt x="0" y="881"/>
                    <a:pt x="14" y="1009"/>
                  </a:cubicBezTo>
                  <a:close/>
                  <a:moveTo>
                    <a:pt x="431" y="585"/>
                  </a:moveTo>
                  <a:cubicBezTo>
                    <a:pt x="435" y="585"/>
                    <a:pt x="439" y="585"/>
                    <a:pt x="442" y="583"/>
                  </a:cubicBezTo>
                  <a:cubicBezTo>
                    <a:pt x="498" y="542"/>
                    <a:pt x="531" y="579"/>
                    <a:pt x="566" y="617"/>
                  </a:cubicBezTo>
                  <a:cubicBezTo>
                    <a:pt x="580" y="633"/>
                    <a:pt x="598" y="647"/>
                    <a:pt x="617" y="656"/>
                  </a:cubicBezTo>
                  <a:cubicBezTo>
                    <a:pt x="666" y="679"/>
                    <a:pt x="659" y="719"/>
                    <a:pt x="629" y="754"/>
                  </a:cubicBezTo>
                  <a:cubicBezTo>
                    <a:pt x="601" y="788"/>
                    <a:pt x="559" y="807"/>
                    <a:pt x="521" y="826"/>
                  </a:cubicBezTo>
                  <a:cubicBezTo>
                    <a:pt x="497" y="838"/>
                    <a:pt x="475" y="843"/>
                    <a:pt x="469" y="873"/>
                  </a:cubicBezTo>
                  <a:cubicBezTo>
                    <a:pt x="469" y="874"/>
                    <a:pt x="461" y="874"/>
                    <a:pt x="456" y="875"/>
                  </a:cubicBezTo>
                  <a:cubicBezTo>
                    <a:pt x="451" y="877"/>
                    <a:pt x="445" y="879"/>
                    <a:pt x="440" y="881"/>
                  </a:cubicBezTo>
                  <a:cubicBezTo>
                    <a:pt x="440" y="881"/>
                    <a:pt x="440" y="881"/>
                    <a:pt x="440" y="881"/>
                  </a:cubicBezTo>
                  <a:cubicBezTo>
                    <a:pt x="440" y="881"/>
                    <a:pt x="440" y="881"/>
                    <a:pt x="440" y="881"/>
                  </a:cubicBezTo>
                  <a:cubicBezTo>
                    <a:pt x="428" y="848"/>
                    <a:pt x="393" y="841"/>
                    <a:pt x="370" y="820"/>
                  </a:cubicBezTo>
                  <a:cubicBezTo>
                    <a:pt x="350" y="802"/>
                    <a:pt x="331" y="783"/>
                    <a:pt x="313" y="762"/>
                  </a:cubicBezTo>
                  <a:cubicBezTo>
                    <a:pt x="280" y="723"/>
                    <a:pt x="241" y="688"/>
                    <a:pt x="205" y="650"/>
                  </a:cubicBezTo>
                  <a:cubicBezTo>
                    <a:pt x="278" y="625"/>
                    <a:pt x="353" y="599"/>
                    <a:pt x="431" y="585"/>
                  </a:cubicBezTo>
                  <a:close/>
                </a:path>
              </a:pathLst>
            </a:custGeom>
            <a:solidFill>
              <a:schemeClr val="accent3">
                <a:alpha val="6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6"/>
                </a:solidFill>
              </a:endParaRPr>
            </a:p>
          </p:txBody>
        </p:sp>
      </p:grpSp>
    </p:spTree>
    <p:custDataLst>
      <p:tags r:id="rId3"/>
    </p:custDataLst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2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</p:tagLst>
</file>

<file path=ppt/tags/tag4.xml><?xml version="1.0" encoding="utf-8"?>
<p:tagLst xmlns:p="http://schemas.openxmlformats.org/presentationml/2006/main">
  <p:tag name="ISLIDE.THEME" val="https://www.islide.cc;"/>
</p:tagLst>
</file>

<file path=ppt/tags/tag5.xml><?xml version="1.0" encoding="utf-8"?>
<p:tagLst xmlns:p="http://schemas.openxmlformats.org/presentationml/2006/main">
  <p:tag name="ISLIDE.THEME" val="https://www.islide.cc;"/>
</p:tagLst>
</file>

<file path=ppt/tags/tag6.xml><?xml version="1.0" encoding="utf-8"?>
<p:tagLst xmlns:p="http://schemas.openxmlformats.org/presentationml/2006/main">
  <p:tag name="ISLIDE.THEME" val="#307541"/>
  <p:tag name="KSO_WPP_MARK_KEY" val="3a3a7c24-987d-47eb-9be0-2b43a0dbf8df"/>
  <p:tag name="COMMONDATA" val="eyJoZGlkIjoiYTVjNDU0ZTEyYjg5Y2MzYmVkN2M3NGM0YmEwOWJkOTIifQ==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42D6D"/>
      </a:accent1>
      <a:accent2>
        <a:srgbClr val="CBCBD7"/>
      </a:accent2>
      <a:accent3>
        <a:srgbClr val="07173B"/>
      </a:accent3>
      <a:accent4>
        <a:srgbClr val="172451"/>
      </a:accent4>
      <a:accent5>
        <a:srgbClr val="162A5F"/>
      </a:accent5>
      <a:accent6>
        <a:srgbClr val="112F6D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2D6D"/>
    </a:accent1>
    <a:accent2>
      <a:srgbClr val="CBCBD7"/>
    </a:accent2>
    <a:accent3>
      <a:srgbClr val="07173B"/>
    </a:accent3>
    <a:accent4>
      <a:srgbClr val="172451"/>
    </a:accent4>
    <a:accent5>
      <a:srgbClr val="162A5F"/>
    </a:accent5>
    <a:accent6>
      <a:srgbClr val="112F6D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2D6D"/>
    </a:accent1>
    <a:accent2>
      <a:srgbClr val="CBCBD7"/>
    </a:accent2>
    <a:accent3>
      <a:srgbClr val="07173B"/>
    </a:accent3>
    <a:accent4>
      <a:srgbClr val="172451"/>
    </a:accent4>
    <a:accent5>
      <a:srgbClr val="162A5F"/>
    </a:accent5>
    <a:accent6>
      <a:srgbClr val="112F6D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2D6D"/>
    </a:accent1>
    <a:accent2>
      <a:srgbClr val="CBCBD7"/>
    </a:accent2>
    <a:accent3>
      <a:srgbClr val="07173B"/>
    </a:accent3>
    <a:accent4>
      <a:srgbClr val="172451"/>
    </a:accent4>
    <a:accent5>
      <a:srgbClr val="162A5F"/>
    </a:accent5>
    <a:accent6>
      <a:srgbClr val="112F6D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2D6D"/>
    </a:accent1>
    <a:accent2>
      <a:srgbClr val="CBCBD7"/>
    </a:accent2>
    <a:accent3>
      <a:srgbClr val="07173B"/>
    </a:accent3>
    <a:accent4>
      <a:srgbClr val="172451"/>
    </a:accent4>
    <a:accent5>
      <a:srgbClr val="162A5F"/>
    </a:accent5>
    <a:accent6>
      <a:srgbClr val="112F6D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2D6D"/>
    </a:accent1>
    <a:accent2>
      <a:srgbClr val="CBCBD7"/>
    </a:accent2>
    <a:accent3>
      <a:srgbClr val="07173B"/>
    </a:accent3>
    <a:accent4>
      <a:srgbClr val="172451"/>
    </a:accent4>
    <a:accent5>
      <a:srgbClr val="162A5F"/>
    </a:accent5>
    <a:accent6>
      <a:srgbClr val="112F6D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24</Words>
  <Application>WPS 演示</Application>
  <PresentationFormat>宽屏</PresentationFormat>
  <Paragraphs>32</Paragraphs>
  <Slides>8</Slides>
  <Notes>0</Notes>
  <HiddenSlides>0</HiddenSlides>
  <MMClips>1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rial</vt:lpstr>
      <vt:lpstr>宋体</vt:lpstr>
      <vt:lpstr>Wingdings</vt:lpstr>
      <vt:lpstr>Impact</vt:lpstr>
      <vt:lpstr>微软雅黑</vt:lpstr>
      <vt:lpstr>Arial Unicode MS</vt:lpstr>
      <vt:lpstr>Calibri</vt:lpstr>
      <vt:lpstr>主题5</vt:lpstr>
      <vt:lpstr>TCLayout.ActiveDocument.1</vt:lpstr>
      <vt:lpstr>TCLayout.ActiveDocument.1</vt:lpstr>
      <vt:lpstr>计算机图形学大作业</vt:lpstr>
      <vt:lpstr>创作思路</vt:lpstr>
      <vt:lpstr>PowerPoint 演示文稿</vt:lpstr>
      <vt:lpstr>项目架构</vt:lpstr>
      <vt:lpstr>PowerPoint 演示文稿</vt:lpstr>
      <vt:lpstr>项目演示</vt:lpstr>
      <vt:lpstr>PowerPoint 演示文稿</vt:lpstr>
      <vt:lpstr>Thanks  感谢收看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X.</cp:lastModifiedBy>
  <cp:revision>3</cp:revision>
  <cp:lastPrinted>2019-09-08T16:00:00Z</cp:lastPrinted>
  <dcterms:created xsi:type="dcterms:W3CDTF">2019-09-08T16:00:00Z</dcterms:created>
  <dcterms:modified xsi:type="dcterms:W3CDTF">2022-12-23T05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6587C52F075F480894CE03CE1802BDB3</vt:lpwstr>
  </property>
  <property fmtid="{D5CDD505-2E9C-101B-9397-08002B2CF9AE}" pid="4" name="KSOProductBuildVer">
    <vt:lpwstr>2052-11.1.0.12763</vt:lpwstr>
  </property>
</Properties>
</file>